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595" r:id="rId2"/>
    <p:sldId id="620" r:id="rId3"/>
    <p:sldId id="621" r:id="rId4"/>
    <p:sldId id="622" r:id="rId5"/>
    <p:sldId id="625" r:id="rId6"/>
    <p:sldId id="623" r:id="rId7"/>
    <p:sldId id="624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08" userDrawn="1">
          <p15:clr>
            <a:srgbClr val="A4A3A4"/>
          </p15:clr>
        </p15:guide>
        <p15:guide id="4" orient="horz" pos="3600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pos="384" userDrawn="1">
          <p15:clr>
            <a:srgbClr val="A4A3A4"/>
          </p15:clr>
        </p15:guide>
        <p15:guide id="9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, Mohanapriya" initials="D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825"/>
    <a:srgbClr val="001581"/>
    <a:srgbClr val="FFFFFF"/>
    <a:srgbClr val="007FA3"/>
    <a:srgbClr val="D20064"/>
    <a:srgbClr val="FF0066"/>
    <a:srgbClr val="99008C"/>
    <a:srgbClr val="82007C"/>
    <a:srgbClr val="96008F"/>
    <a:srgbClr val="5953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488" autoAdjust="0"/>
    <p:restoredTop sz="95165" autoAdjust="0"/>
  </p:normalViewPr>
  <p:slideViewPr>
    <p:cSldViewPr>
      <p:cViewPr varScale="1">
        <p:scale>
          <a:sx n="68" d="100"/>
          <a:sy n="68" d="100"/>
        </p:scale>
        <p:origin x="548" y="52"/>
      </p:cViewPr>
      <p:guideLst>
        <p:guide orient="horz" pos="2112"/>
        <p:guide pos="3840"/>
        <p:guide orient="horz" pos="1008"/>
        <p:guide orient="horz" pos="3600"/>
        <p:guide orient="horz" pos="3984"/>
        <p:guide orient="horz" pos="2160"/>
        <p:guide pos="7296"/>
        <p:guide pos="384"/>
        <p:guide orient="horz" pos="1920"/>
      </p:guideLst>
    </p:cSldViewPr>
  </p:slideViewPr>
  <p:outlineViewPr>
    <p:cViewPr>
      <p:scale>
        <a:sx n="50" d="100"/>
        <a:sy n="50" d="100"/>
      </p:scale>
      <p:origin x="0" y="-42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8D874E-E9D5-433B-A149-BDF6BFDD40A8}" type="datetimeFigureOut">
              <a:rPr lang="en-US" smtClean="0"/>
              <a:pPr/>
              <a:t>11/9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DCAA22-461C-45B4-A301-BFCA580174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192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051F04-9E25-42C3-8BC5-EC2E8469D95E}" type="datetimeFigureOut">
              <a:rPr lang="en-US" smtClean="0"/>
              <a:pPr/>
              <a:t>11/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D6722-9B4D-4E29-B226-C325925A81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9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white">
          <a:xfrm>
            <a:off x="0" y="3810000"/>
            <a:ext cx="12192000" cy="304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2"/>
              </a:gs>
              <a:gs pos="83000">
                <a:schemeClr val="bg2">
                  <a:lumMod val="75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762001"/>
            <a:ext cx="10363200" cy="2838451"/>
          </a:xfrm>
        </p:spPr>
        <p:txBody>
          <a:bodyPr anchor="b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583" y="3962400"/>
            <a:ext cx="10392835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72A3D-B033-D330-3C21-B6F75ECE23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552" y="143892"/>
            <a:ext cx="3718882" cy="8961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EAF99C-05FC-B681-F56F-2F3C8C3C7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>
            <a:off x="8546587" y="143892"/>
            <a:ext cx="3475861" cy="9019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79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447801"/>
            <a:ext cx="10363200" cy="2152651"/>
          </a:xfrm>
        </p:spPr>
        <p:txBody>
          <a:bodyPr anchor="b">
            <a:noAutofit/>
          </a:bodyPr>
          <a:lstStyle>
            <a:lvl1pPr algn="l">
              <a:defRPr sz="3400" b="1" i="0" cap="none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9583" y="3962400"/>
            <a:ext cx="10392836" cy="17526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1074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04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62150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47617" y="113072"/>
            <a:ext cx="2844800" cy="18288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12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06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30EC07-2335-A00E-EA90-3C8600EA2645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1F331D-61F2-595D-0F3B-C2FD97CCE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761F97-E9CB-2842-716A-CDC13A63EBE1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55BCB36-BAF3-658D-6EEA-4E264D317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111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438402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03876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3657601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4648200"/>
            <a:ext cx="10972800" cy="5073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" y="5334000"/>
            <a:ext cx="10972800" cy="533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2281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816430"/>
            <a:ext cx="10972800" cy="4789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edition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705600" y="1600202"/>
            <a:ext cx="4876800" cy="160019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3000" baseline="0"/>
            </a:lvl1pPr>
            <a:lvl2pPr marL="0" indent="0">
              <a:spcBef>
                <a:spcPts val="0"/>
              </a:spcBef>
              <a:buNone/>
              <a:defRPr sz="4400"/>
            </a:lvl2pPr>
            <a:lvl3pPr marL="0" indent="0">
              <a:spcBef>
                <a:spcPts val="0"/>
              </a:spcBef>
              <a:buNone/>
              <a:defRPr sz="4400"/>
            </a:lvl3pPr>
            <a:lvl4pPr marL="0" indent="0">
              <a:spcBef>
                <a:spcPts val="0"/>
              </a:spcBef>
              <a:buNone/>
              <a:defRPr sz="4400"/>
            </a:lvl4pPr>
            <a:lvl5pPr marL="0" indent="0">
              <a:spcBef>
                <a:spcPts val="0"/>
              </a:spcBef>
              <a:buNone/>
              <a:defRPr sz="4400"/>
            </a:lvl5pPr>
            <a:lvl6pPr marL="0" indent="0">
              <a:spcBef>
                <a:spcPts val="0"/>
              </a:spcBef>
              <a:buNone/>
              <a:defRPr sz="4400"/>
            </a:lvl6pPr>
            <a:lvl7pPr marL="0" indent="0">
              <a:spcBef>
                <a:spcPts val="0"/>
              </a:spcBef>
              <a:buNone/>
              <a:defRPr sz="4400"/>
            </a:lvl7pPr>
            <a:lvl8pPr marL="0" indent="0">
              <a:spcBef>
                <a:spcPts val="0"/>
              </a:spcBef>
              <a:buNone/>
              <a:defRPr sz="4400"/>
            </a:lvl8pPr>
            <a:lvl9pPr marL="0" indent="0">
              <a:spcBef>
                <a:spcPts val="0"/>
              </a:spcBef>
              <a:buNone/>
              <a:defRPr sz="4400"/>
            </a:lvl9pPr>
          </a:lstStyle>
          <a:p>
            <a:pPr lvl="0"/>
            <a:r>
              <a:rPr lang="en-US" dirty="0"/>
              <a:t>Chapter ##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705600" y="3200401"/>
            <a:ext cx="4876800" cy="2925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4212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06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earning Objectiv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22828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Learning Objectives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92494" y="1124956"/>
            <a:ext cx="10972800" cy="40277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Learning Objective(s)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600201"/>
            <a:ext cx="10972800" cy="4525963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601409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46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7FA3"/>
              </a:buClr>
              <a:buSzPct val="100000"/>
              <a:defRPr sz="2800" b="0"/>
            </a:lvl1pPr>
            <a:lvl2pPr>
              <a:buClr>
                <a:srgbClr val="007FA3"/>
              </a:buClr>
              <a:defRPr/>
            </a:lvl2pPr>
            <a:lvl3pPr>
              <a:buClr>
                <a:srgbClr val="007FA3"/>
              </a:buClr>
              <a:defRPr/>
            </a:lvl3pPr>
            <a:lvl4pPr>
              <a:buClr>
                <a:srgbClr val="007FA3"/>
              </a:buClr>
              <a:defRPr/>
            </a:lvl4pPr>
            <a:lvl5pPr>
              <a:buClr>
                <a:srgbClr val="007FA3"/>
              </a:buClr>
              <a:defRPr/>
            </a:lvl5pPr>
            <a:lvl6pPr>
              <a:buClr>
                <a:srgbClr val="007FA3"/>
              </a:buClr>
              <a:defRPr/>
            </a:lvl6pPr>
            <a:lvl7pPr>
              <a:buClr>
                <a:srgbClr val="007FA3"/>
              </a:buClr>
              <a:defRPr/>
            </a:lvl7pPr>
            <a:lvl8pPr>
              <a:buClr>
                <a:srgbClr val="007FA3"/>
              </a:buClr>
              <a:defRPr/>
            </a:lvl8pPr>
            <a:lvl9pPr>
              <a:buClr>
                <a:srgbClr val="007FA3"/>
              </a:buCl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909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i="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1295400"/>
          </a:xfrm>
        </p:spPr>
        <p:txBody>
          <a:bodyPr/>
          <a:lstStyle>
            <a:lvl1pPr marL="118872" indent="-118872">
              <a:buClr>
                <a:srgbClr val="007FA3"/>
              </a:buClr>
              <a:buSzPct val="25000"/>
              <a:defRPr sz="1600"/>
            </a:lvl1pPr>
            <a:lvl2pPr marL="569913" indent="-285750">
              <a:buClr>
                <a:srgbClr val="007FA3"/>
              </a:buClr>
              <a:defRPr sz="1600"/>
            </a:lvl2pPr>
            <a:lvl3pPr>
              <a:buClr>
                <a:srgbClr val="007FA3"/>
              </a:buClr>
              <a:defRPr sz="1600"/>
            </a:lvl3pPr>
            <a:lvl4pPr>
              <a:buClr>
                <a:srgbClr val="007FA3"/>
              </a:buClr>
              <a:defRPr sz="1600"/>
            </a:lvl4pPr>
            <a:lvl5pPr>
              <a:buClr>
                <a:srgbClr val="007FA3"/>
              </a:buClr>
              <a:defRPr sz="1600"/>
            </a:lvl5pPr>
            <a:lvl6pPr>
              <a:buClr>
                <a:srgbClr val="007FA3"/>
              </a:buClr>
              <a:defRPr sz="1600"/>
            </a:lvl6pPr>
            <a:lvl7pPr>
              <a:buClr>
                <a:srgbClr val="007FA3"/>
              </a:buClr>
              <a:defRPr sz="1600"/>
            </a:lvl7pPr>
            <a:lvl8pPr>
              <a:buClr>
                <a:srgbClr val="007FA3"/>
              </a:buClr>
              <a:defRPr sz="1600"/>
            </a:lvl8pPr>
            <a:lvl9pPr>
              <a:buClr>
                <a:srgbClr val="007FA3"/>
              </a:buCl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09600" y="3124200"/>
            <a:ext cx="10972800" cy="2743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200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gur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09600" y="228600"/>
            <a:ext cx="10972800" cy="1066800"/>
          </a:xfrm>
        </p:spPr>
        <p:txBody>
          <a:bodyPr anchor="t"/>
          <a:lstStyle>
            <a:lvl1pPr>
              <a:defRPr sz="3400" b="1" i="0" baseline="0">
                <a:solidFill>
                  <a:srgbClr val="007FA3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add figure number an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368160"/>
            <a:ext cx="10972800" cy="91685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  <a:lvl9pPr marL="0" indent="0">
              <a:spcBef>
                <a:spcPts val="0"/>
              </a:spcBef>
              <a:buNone/>
              <a:defRPr sz="1600"/>
            </a:lvl9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4E148D-A0A4-317A-F8C2-A182BF063633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561D8-0188-7C13-6FAC-BB31FC696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D6040-0697-6311-60E2-1B6D6FD6EB49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06703BA-0E68-73C9-AFE4-48C8D9E48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0379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68932"/>
            <a:ext cx="10972800" cy="83422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2743201"/>
            <a:ext cx="10972800" cy="98587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8069" y="4114801"/>
            <a:ext cx="10972800" cy="10927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479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00" b="1" baseline="0">
                <a:latin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622537"/>
            <a:ext cx="11460480" cy="235463"/>
          </a:xfrm>
        </p:spPr>
        <p:txBody>
          <a:bodyPr/>
          <a:lstStyle/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685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09600" y="2514600"/>
            <a:ext cx="10972800" cy="609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/>
          </p:nvPr>
        </p:nvSpPr>
        <p:spPr>
          <a:xfrm>
            <a:off x="609600" y="3352800"/>
            <a:ext cx="10972800" cy="7708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6"/>
          </p:nvPr>
        </p:nvSpPr>
        <p:spPr>
          <a:xfrm>
            <a:off x="609600" y="4419600"/>
            <a:ext cx="10972800" cy="76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7"/>
          </p:nvPr>
        </p:nvSpPr>
        <p:spPr>
          <a:xfrm>
            <a:off x="609601" y="5343526"/>
            <a:ext cx="11018292" cy="752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3014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6095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9600" y="3564150"/>
            <a:ext cx="10972800" cy="931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661" y="6620070"/>
            <a:ext cx="11460480" cy="235463"/>
          </a:xfrm>
        </p:spPr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600" y="2497350"/>
            <a:ext cx="10972800" cy="77925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609600" y="5105400"/>
            <a:ext cx="109728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9140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FE6B61-320F-E0FF-6D87-A517953A8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253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4" imgH="443" progId="TCLayout.ActiveDocument.1">
                  <p:embed/>
                </p:oleObj>
              </mc:Choice>
              <mc:Fallback>
                <p:oleObj name="think-cell Slide" r:id="rId16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15372"/>
            <a:ext cx="10972800" cy="69902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</a:t>
            </a:r>
          </a:p>
          <a:p>
            <a:pPr lvl="6"/>
            <a:r>
              <a:rPr lang="en-US" dirty="0"/>
              <a:t>Seventh</a:t>
            </a:r>
          </a:p>
          <a:p>
            <a:pPr lvl="7"/>
            <a:r>
              <a:rPr lang="en-US" dirty="0"/>
              <a:t>Eighth</a:t>
            </a:r>
          </a:p>
          <a:p>
            <a:pPr lvl="8"/>
            <a:r>
              <a:rPr lang="en-US" dirty="0"/>
              <a:t>Ninth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458921"/>
            <a:ext cx="9372600" cy="36741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© CND                                                                                                                            CND111: Intro. to Digital Desig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96133D-D5BC-C5E4-BCB5-A0BE6F256B1C}"/>
              </a:ext>
            </a:extLst>
          </p:cNvPr>
          <p:cNvSpPr/>
          <p:nvPr userDrawn="1"/>
        </p:nvSpPr>
        <p:spPr>
          <a:xfrm>
            <a:off x="11551091" y="0"/>
            <a:ext cx="6409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27212F-ECC5-F8A1-A5D6-BD290599FB5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684592" y="128902"/>
            <a:ext cx="425472" cy="47627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31D2D3-9114-DE88-64B6-66B72405A3E4}"/>
              </a:ext>
            </a:extLst>
          </p:cNvPr>
          <p:cNvCxnSpPr/>
          <p:nvPr userDrawn="1"/>
        </p:nvCxnSpPr>
        <p:spPr>
          <a:xfrm>
            <a:off x="780417" y="990600"/>
            <a:ext cx="10512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3957862-7C7E-4D88-A65E-00B629C72F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23488" b="6814"/>
          <a:stretch/>
        </p:blipFill>
        <p:spPr bwMode="auto">
          <a:xfrm rot="16200000">
            <a:off x="10637245" y="1904726"/>
            <a:ext cx="2468880" cy="6406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0000" y="6458921"/>
            <a:ext cx="735711" cy="2751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200B2350-5261-4F5C-9DF5-EF0D264FC8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570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0" r:id="rId4"/>
    <p:sldLayoutId id="2147483659" r:id="rId5"/>
    <p:sldLayoutId id="2147483658" r:id="rId6"/>
    <p:sldLayoutId id="2147483660" r:id="rId7"/>
    <p:sldLayoutId id="2147483661" r:id="rId8"/>
    <p:sldLayoutId id="2147483662" r:id="rId9"/>
    <p:sldLayoutId id="2147483651" r:id="rId10"/>
    <p:sldLayoutId id="2147483654" r:id="rId11"/>
    <p:sldLayoutId id="2147483655" r:id="rId12"/>
    <p:sldLayoutId id="2147483664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400" b="1" kern="1200">
          <a:solidFill>
            <a:srgbClr val="007FA3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56032" indent="-256032" algn="l" defTabSz="914400" rtl="0" eaLnBrk="1" latinLnBrk="0" hangingPunct="1">
        <a:spcBef>
          <a:spcPts val="15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7FA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ts val="300"/>
        </a:spcBef>
        <a:buClr>
          <a:srgbClr val="007FA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86D7C9-5B04-8474-B951-DAD11EC2D2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ND111: Introduction to Digital Desig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12649A-59CC-F29E-BCDA-DA24E4E2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ND                                                                                                                            CND111: Intro. to Digital Desig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6469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120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A71F377-1424-36FB-C924-3D47A9AF3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Lab 7: Convolutional Encoder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ND                                                                                                                            CND111: Intro. to Digital Desig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97315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A71F377-1424-36FB-C924-3D47A9AF3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219200" y="-381000"/>
            <a:ext cx="10363200" cy="2152651"/>
          </a:xfrm>
        </p:spPr>
        <p:txBody>
          <a:bodyPr vert="horz"/>
          <a:lstStyle/>
          <a:p>
            <a:pPr algn="ctr"/>
            <a:r>
              <a:rPr lang="en-US" sz="2500" dirty="0"/>
              <a:t>       You’re required to design the block shown below: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ND                                                                                                                            CND111: Intro. to Digital Desig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343148E-3DD2-E287-ED93-5366D10254A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2031872"/>
            <a:ext cx="9857180" cy="42997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19414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117D995-5BFA-A0D7-2F60-F3CCB9206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800" dirty="0"/>
              <a:t>Specific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ND                                                                                                                            CND111: Intro. to Digital Desig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7D8AE4C-0DAC-276D-E213-3CC7DA4288DE}"/>
              </a:ext>
            </a:extLst>
          </p:cNvPr>
          <p:cNvSpPr txBox="1">
            <a:spLocks/>
          </p:cNvSpPr>
          <p:nvPr/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/>
          <a:lstStyle>
            <a:lvl1pPr marL="256032" indent="-256032" algn="l" defTabSz="914400" rtl="0" eaLnBrk="1" latinLnBrk="0" hangingPunct="1">
              <a:spcBef>
                <a:spcPts val="15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he serial-in-serial-out shift register takes the input serially and does the shifting operation as shown in the figure below: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567FA2-FCBA-99B9-5346-279A090BC0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400" y="2362200"/>
            <a:ext cx="5464279" cy="313340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982360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117D995-5BFA-A0D7-2F60-F3CCB9206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800" dirty="0"/>
              <a:t>Specific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ND                                                                                                                            CND111: Intro. to Digital Desig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7D8AE4C-0DAC-276D-E213-3CC7DA4288DE}"/>
              </a:ext>
            </a:extLst>
          </p:cNvPr>
          <p:cNvSpPr txBox="1">
            <a:spLocks/>
          </p:cNvSpPr>
          <p:nvPr/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/>
          <a:lstStyle>
            <a:lvl1pPr marL="256032" indent="-256032" algn="l" defTabSz="914400" rtl="0" eaLnBrk="1" latinLnBrk="0" hangingPunct="1">
              <a:spcBef>
                <a:spcPts val="15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he convolutional encoder is a simple 3-bit shift register that takes the external input serially and does the shifting operation and based on the figure below, it computes its two outputs:</a:t>
            </a:r>
          </a:p>
          <a:p>
            <a:endParaRPr lang="en-US" sz="2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E05A0D1-972E-B95F-8D53-77EF6A6CEE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4340" y="2244410"/>
            <a:ext cx="2971800" cy="38817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775423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117D995-5BFA-A0D7-2F60-F3CCB9206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800" dirty="0"/>
              <a:t>Specific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ND                                                                                                                            CND111: Intro. to Digital Desig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7D8AE4C-0DAC-276D-E213-3CC7DA4288DE}"/>
              </a:ext>
            </a:extLst>
          </p:cNvPr>
          <p:cNvSpPr txBox="1">
            <a:spLocks/>
          </p:cNvSpPr>
          <p:nvPr/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/>
          <a:lstStyle>
            <a:lvl1pPr marL="256032" indent="-256032" algn="l" defTabSz="914400" rtl="0" eaLnBrk="1" latinLnBrk="0" hangingPunct="1">
              <a:spcBef>
                <a:spcPts val="15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he clock divider takes the input clock and divides it by 2 to generate a slower clock. The slower clock is provided to the SISO at the input side as well as the SISO at the output side and the conv encoder. </a:t>
            </a:r>
          </a:p>
          <a:p>
            <a:endParaRPr lang="en-US" sz="2000" dirty="0"/>
          </a:p>
        </p:txBody>
      </p:sp>
      <p:pic>
        <p:nvPicPr>
          <p:cNvPr id="2" name="Picture 1" descr="Use Flip-flops to Build a Clock Divider - Digilent Reference">
            <a:extLst>
              <a:ext uri="{FF2B5EF4-FFF2-40B4-BE49-F238E27FC236}">
                <a16:creationId xmlns:a16="http://schemas.microsoft.com/office/drawing/2014/main" id="{6D0CC464-15B1-8FFA-E267-8CAFD2E418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907" y="2987695"/>
            <a:ext cx="9242665" cy="22574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55326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F5D5FD9-998B-B202-6EE4-C60DB0319B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4" imgH="443" progId="TCLayout.ActiveDocument.1">
                  <p:embed/>
                </p:oleObj>
              </mc:Choice>
              <mc:Fallback>
                <p:oleObj name="think-cell Slide" r:id="rId3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F5D5FD9-998B-B202-6EE4-C60DB0319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117D995-5BFA-A0D7-2F60-F3CCB9206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800" dirty="0"/>
              <a:t>Specific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DB9042-C5D2-5BED-8034-A4F66A9C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ND                                                                                                                            CND111: Intro. to Digital Desig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7D8AE4C-0DAC-276D-E213-3CC7DA4288DE}"/>
              </a:ext>
            </a:extLst>
          </p:cNvPr>
          <p:cNvSpPr txBox="1">
            <a:spLocks/>
          </p:cNvSpPr>
          <p:nvPr/>
        </p:nvSpPr>
        <p:spPr>
          <a:xfrm>
            <a:off x="609600" y="1219205"/>
            <a:ext cx="10972800" cy="4906960"/>
          </a:xfrm>
          <a:prstGeom prst="rect">
            <a:avLst/>
          </a:prstGeom>
        </p:spPr>
        <p:txBody>
          <a:bodyPr/>
          <a:lstStyle>
            <a:lvl1pPr marL="256032" indent="-256032" algn="l" defTabSz="914400" rtl="0" eaLnBrk="1" latinLnBrk="0" hangingPunct="1">
              <a:spcBef>
                <a:spcPts val="15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6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ts val="300"/>
              </a:spcBef>
              <a:buClr>
                <a:srgbClr val="007FA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he Double-bit synchronizer takes the two parallel outputs of the conv encoder, and serializes them to be appearing on a single serial wire. </a:t>
            </a:r>
          </a:p>
          <a:p>
            <a:endParaRPr lang="en-US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38B39E-D30B-EEB2-22EB-6E17A0CCD7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117" y="2381094"/>
            <a:ext cx="2559436" cy="33339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6973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a8dd79d94d0b89fe9b6b2bf095f36224106ea8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8 Lecture">
  <a:themeElements>
    <a:clrScheme name="Custom 7">
      <a:dk1>
        <a:sysClr val="windowText" lastClr="000000"/>
      </a:dk1>
      <a:lt1>
        <a:sysClr val="window" lastClr="FFFFFF"/>
      </a:lt1>
      <a:dk2>
        <a:srgbClr val="000000"/>
      </a:dk2>
      <a:lt2>
        <a:srgbClr val="007FA3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earson 508">
      <a:dk1>
        <a:sysClr val="windowText" lastClr="000000"/>
      </a:dk1>
      <a:lt1>
        <a:sysClr val="window" lastClr="FFFFFF"/>
      </a:lt1>
      <a:dk2>
        <a:srgbClr val="000000"/>
      </a:dk2>
      <a:lt2>
        <a:srgbClr val="EEEEEE"/>
      </a:lt2>
      <a:accent1>
        <a:srgbClr val="3C1581"/>
      </a:accent1>
      <a:accent2>
        <a:srgbClr val="1A6C7C"/>
      </a:accent2>
      <a:accent3>
        <a:srgbClr val="CC730D"/>
      </a:accent3>
      <a:accent4>
        <a:srgbClr val="B2AA00"/>
      </a:accent4>
      <a:accent5>
        <a:srgbClr val="1B9332"/>
      </a:accent5>
      <a:accent6>
        <a:srgbClr val="7F7F7F"/>
      </a:accent6>
      <a:hlink>
        <a:srgbClr val="3C1581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Arial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rizon</Template>
  <TotalTime>14709</TotalTime>
  <Words>211</Words>
  <Application>Microsoft Office PowerPoint</Application>
  <PresentationFormat>Widescreen</PresentationFormat>
  <Paragraphs>1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Times New Roman</vt:lpstr>
      <vt:lpstr>Wingdings</vt:lpstr>
      <vt:lpstr>508 Lecture</vt:lpstr>
      <vt:lpstr>think-cell Slide</vt:lpstr>
      <vt:lpstr>CND111: Introduction to Digital Design</vt:lpstr>
      <vt:lpstr>Lab 7: Convolutional Encoder </vt:lpstr>
      <vt:lpstr>       You’re required to design the block shown below: </vt:lpstr>
      <vt:lpstr>Specification</vt:lpstr>
      <vt:lpstr>Specification</vt:lpstr>
      <vt:lpstr>Specification</vt:lpstr>
      <vt:lpstr>Specification</vt:lpstr>
    </vt:vector>
  </TitlesOfParts>
  <Company>SP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sign: Principles and Practices, 5e with Verilog</dc:title>
  <dc:subject>Engineering, Computer Science</dc:subject>
  <dc:creator>Wakerly</dc:creator>
  <cp:keywords>Digital Design</cp:keywords>
  <cp:lastModifiedBy>Shadi Gamal</cp:lastModifiedBy>
  <cp:revision>3765</cp:revision>
  <dcterms:created xsi:type="dcterms:W3CDTF">2014-07-14T20:04:21Z</dcterms:created>
  <dcterms:modified xsi:type="dcterms:W3CDTF">2023-11-09T09:19:45Z</dcterms:modified>
</cp:coreProperties>
</file>